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660" r:id="rId5"/>
    <p:sldMasterId id="2147483672" r:id="rId6"/>
  </p:sldMasterIdLst>
  <p:notesMasterIdLst>
    <p:notesMasterId r:id="rId16"/>
  </p:notesMasterIdLst>
  <p:sldIdLst>
    <p:sldId id="380" r:id="rId7"/>
    <p:sldId id="390" r:id="rId8"/>
    <p:sldId id="392" r:id="rId9"/>
    <p:sldId id="393" r:id="rId10"/>
    <p:sldId id="258" r:id="rId11"/>
    <p:sldId id="389" r:id="rId12"/>
    <p:sldId id="394" r:id="rId13"/>
    <p:sldId id="395" r:id="rId14"/>
    <p:sldId id="367" r:id="rId15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D1E38B-7881-4D29-9AEC-FB0026C03D59}" v="51" dt="2022-11-21T13:12:22.82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6" d="100"/>
          <a:sy n="86" d="100"/>
        </p:scale>
        <p:origin x="10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iří Šálek" userId="28c93761-ec6d-469c-a015-827375675549" providerId="ADAL" clId="{0576FEB7-5E69-4A7D-9255-040CC8F65592}"/>
    <pc:docChg chg="modSld">
      <pc:chgData name="Jiří Šálek" userId="28c93761-ec6d-469c-a015-827375675549" providerId="ADAL" clId="{0576FEB7-5E69-4A7D-9255-040CC8F65592}" dt="2022-11-21T13:56:49.729" v="60" actId="122"/>
      <pc:docMkLst>
        <pc:docMk/>
      </pc:docMkLst>
      <pc:sldChg chg="modSp mod">
        <pc:chgData name="Jiří Šálek" userId="28c93761-ec6d-469c-a015-827375675549" providerId="ADAL" clId="{0576FEB7-5E69-4A7D-9255-040CC8F65592}" dt="2022-11-21T12:00:26.697" v="32" actId="1076"/>
        <pc:sldMkLst>
          <pc:docMk/>
          <pc:sldMk cId="3551833595" sldId="380"/>
        </pc:sldMkLst>
        <pc:spChg chg="mod">
          <ac:chgData name="Jiří Šálek" userId="28c93761-ec6d-469c-a015-827375675549" providerId="ADAL" clId="{0576FEB7-5E69-4A7D-9255-040CC8F65592}" dt="2022-11-21T12:00:26.697" v="32" actId="1076"/>
          <ac:spMkLst>
            <pc:docMk/>
            <pc:sldMk cId="3551833595" sldId="380"/>
            <ac:spMk id="3" creationId="{00000000-0000-0000-0000-000000000000}"/>
          </ac:spMkLst>
        </pc:spChg>
      </pc:sldChg>
      <pc:sldChg chg="modSp modAnim">
        <pc:chgData name="Jiří Šálek" userId="28c93761-ec6d-469c-a015-827375675549" providerId="ADAL" clId="{0576FEB7-5E69-4A7D-9255-040CC8F65592}" dt="2022-11-21T12:00:55.738" v="33"/>
        <pc:sldMkLst>
          <pc:docMk/>
          <pc:sldMk cId="4114101442" sldId="390"/>
        </pc:sldMkLst>
        <pc:spChg chg="mod">
          <ac:chgData name="Jiří Šálek" userId="28c93761-ec6d-469c-a015-827375675549" providerId="ADAL" clId="{0576FEB7-5E69-4A7D-9255-040CC8F65592}" dt="2022-11-21T12:00:55.738" v="33"/>
          <ac:spMkLst>
            <pc:docMk/>
            <pc:sldMk cId="4114101442" sldId="390"/>
            <ac:spMk id="2" creationId="{00000000-0000-0000-0000-000000000000}"/>
          </ac:spMkLst>
        </pc:spChg>
      </pc:sldChg>
      <pc:sldChg chg="modSp modAnim">
        <pc:chgData name="Jiří Šálek" userId="28c93761-ec6d-469c-a015-827375675549" providerId="ADAL" clId="{0576FEB7-5E69-4A7D-9255-040CC8F65592}" dt="2022-11-21T12:04:10.994" v="36" actId="20577"/>
        <pc:sldMkLst>
          <pc:docMk/>
          <pc:sldMk cId="3122061026" sldId="392"/>
        </pc:sldMkLst>
        <pc:spChg chg="mod">
          <ac:chgData name="Jiří Šálek" userId="28c93761-ec6d-469c-a015-827375675549" providerId="ADAL" clId="{0576FEB7-5E69-4A7D-9255-040CC8F65592}" dt="2022-11-21T12:04:10.994" v="36" actId="20577"/>
          <ac:spMkLst>
            <pc:docMk/>
            <pc:sldMk cId="3122061026" sldId="392"/>
            <ac:spMk id="3" creationId="{00000000-0000-0000-0000-000000000000}"/>
          </ac:spMkLst>
        </pc:spChg>
      </pc:sldChg>
      <pc:sldChg chg="modSp mod">
        <pc:chgData name="Jiří Šálek" userId="28c93761-ec6d-469c-a015-827375675549" providerId="ADAL" clId="{0576FEB7-5E69-4A7D-9255-040CC8F65592}" dt="2022-11-21T13:56:49.729" v="60" actId="122"/>
        <pc:sldMkLst>
          <pc:docMk/>
          <pc:sldMk cId="3492400518" sldId="394"/>
        </pc:sldMkLst>
        <pc:spChg chg="mod">
          <ac:chgData name="Jiří Šálek" userId="28c93761-ec6d-469c-a015-827375675549" providerId="ADAL" clId="{0576FEB7-5E69-4A7D-9255-040CC8F65592}" dt="2022-11-21T13:56:49.729" v="60" actId="122"/>
          <ac:spMkLst>
            <pc:docMk/>
            <pc:sldMk cId="3492400518" sldId="394"/>
            <ac:spMk id="26" creationId="{00000000-0000-0000-0000-000000000000}"/>
          </ac:spMkLst>
        </pc:spChg>
      </pc:sldChg>
    </pc:docChg>
  </pc:docChgLst>
  <pc:docChgLst>
    <pc:chgData name="Gabriela Šabani" userId="f28c792c-dff3-4d00-9de4-d16fb1ef8eba" providerId="ADAL" clId="{6DD1E38B-7881-4D29-9AEC-FB0026C03D59}"/>
    <pc:docChg chg="custSel modSld">
      <pc:chgData name="Gabriela Šabani" userId="f28c792c-dff3-4d00-9de4-d16fb1ef8eba" providerId="ADAL" clId="{6DD1E38B-7881-4D29-9AEC-FB0026C03D59}" dt="2022-11-21T13:12:22.825" v="50" actId="20577"/>
      <pc:docMkLst>
        <pc:docMk/>
      </pc:docMkLst>
      <pc:sldChg chg="modSp">
        <pc:chgData name="Gabriela Šabani" userId="f28c792c-dff3-4d00-9de4-d16fb1ef8eba" providerId="ADAL" clId="{6DD1E38B-7881-4D29-9AEC-FB0026C03D59}" dt="2022-11-21T13:08:01.979" v="8" actId="20577"/>
        <pc:sldMkLst>
          <pc:docMk/>
          <pc:sldMk cId="4114101442" sldId="390"/>
        </pc:sldMkLst>
        <pc:spChg chg="mod">
          <ac:chgData name="Gabriela Šabani" userId="f28c792c-dff3-4d00-9de4-d16fb1ef8eba" providerId="ADAL" clId="{6DD1E38B-7881-4D29-9AEC-FB0026C03D59}" dt="2022-11-21T13:08:01.979" v="8" actId="20577"/>
          <ac:spMkLst>
            <pc:docMk/>
            <pc:sldMk cId="4114101442" sldId="390"/>
            <ac:spMk id="2" creationId="{00000000-0000-0000-0000-000000000000}"/>
          </ac:spMkLst>
        </pc:spChg>
      </pc:sldChg>
      <pc:sldChg chg="delSp modSp modAnim">
        <pc:chgData name="Gabriela Šabani" userId="f28c792c-dff3-4d00-9de4-d16fb1ef8eba" providerId="ADAL" clId="{6DD1E38B-7881-4D29-9AEC-FB0026C03D59}" dt="2022-11-21T13:12:22.825" v="50" actId="20577"/>
        <pc:sldMkLst>
          <pc:docMk/>
          <pc:sldMk cId="3122061026" sldId="392"/>
        </pc:sldMkLst>
        <pc:spChg chg="del">
          <ac:chgData name="Gabriela Šabani" userId="f28c792c-dff3-4d00-9de4-d16fb1ef8eba" providerId="ADAL" clId="{6DD1E38B-7881-4D29-9AEC-FB0026C03D59}" dt="2022-11-21T13:10:23.739" v="39" actId="478"/>
          <ac:spMkLst>
            <pc:docMk/>
            <pc:sldMk cId="3122061026" sldId="392"/>
            <ac:spMk id="2" creationId="{00000000-0000-0000-0000-000000000000}"/>
          </ac:spMkLst>
        </pc:spChg>
        <pc:spChg chg="mod">
          <ac:chgData name="Gabriela Šabani" userId="f28c792c-dff3-4d00-9de4-d16fb1ef8eba" providerId="ADAL" clId="{6DD1E38B-7881-4D29-9AEC-FB0026C03D59}" dt="2022-11-21T13:12:22.825" v="50" actId="20577"/>
          <ac:spMkLst>
            <pc:docMk/>
            <pc:sldMk cId="3122061026" sldId="392"/>
            <ac:spMk id="3" creationId="{00000000-0000-0000-0000-000000000000}"/>
          </ac:spMkLst>
        </pc:spChg>
        <pc:spChg chg="mod">
          <ac:chgData name="Gabriela Šabani" userId="f28c792c-dff3-4d00-9de4-d16fb1ef8eba" providerId="ADAL" clId="{6DD1E38B-7881-4D29-9AEC-FB0026C03D59}" dt="2022-11-21T13:10:30.745" v="42" actId="20577"/>
          <ac:spMkLst>
            <pc:docMk/>
            <pc:sldMk cId="3122061026" sldId="392"/>
            <ac:spMk id="9" creationId="{D137F4E1-333B-A1D0-4146-A75DEBBBA600}"/>
          </ac:spMkLst>
        </pc:spChg>
        <pc:picChg chg="mod ord">
          <ac:chgData name="Gabriela Šabani" userId="f28c792c-dff3-4d00-9de4-d16fb1ef8eba" providerId="ADAL" clId="{6DD1E38B-7881-4D29-9AEC-FB0026C03D59}" dt="2022-11-21T13:12:17.048" v="49" actId="1076"/>
          <ac:picMkLst>
            <pc:docMk/>
            <pc:sldMk cId="3122061026" sldId="392"/>
            <ac:picMk id="4" creationId="{00000000-0000-0000-0000-00000000000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A29F45-877A-4486-9065-C438BC3338B2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8571B7-856A-485F-B327-D70ABCC9562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21071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BE983-F310-49E2-A9F8-F6E0B61F83D9}" type="slidenum">
              <a:rPr lang="cs-CZ" smtClean="0"/>
              <a:pPr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1578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BE983-F310-49E2-A9F8-F6E0B61F83D9}" type="slidenum">
              <a:rPr lang="cs-CZ" smtClean="0"/>
              <a:pPr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446713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BE983-F310-49E2-A9F8-F6E0B61F83D9}" type="slidenum">
              <a:rPr lang="cs-CZ" smtClean="0"/>
              <a:pPr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00403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BE983-F310-49E2-A9F8-F6E0B61F83D9}" type="slidenum">
              <a:rPr lang="cs-CZ" smtClean="0"/>
              <a:pPr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989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BE983-F310-49E2-A9F8-F6E0B61F83D9}" type="slidenum">
              <a:rPr lang="cs-CZ" smtClean="0"/>
              <a:pPr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65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FEBE983-F310-49E2-A9F8-F6E0B61F83D9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8853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2912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dirty="0">
                <a:solidFill>
                  <a:schemeClr val="bg1"/>
                </a:solidFill>
                <a:latin typeface="iCiel Panton Black" charset="0"/>
                <a:ea typeface="iCiel Panton Black" charset="0"/>
                <a:cs typeface="iCiel Panton Black" charset="0"/>
              </a:rPr>
              <a:t>Our ultimate goal is to become the world no1 secured DNS resolver! And change</a:t>
            </a:r>
            <a:r>
              <a:rPr lang="en-US" sz="1200" b="0" baseline="0" dirty="0">
                <a:solidFill>
                  <a:schemeClr val="bg1"/>
                </a:solidFill>
                <a:latin typeface="iCiel Panton Black" charset="0"/>
                <a:ea typeface="iCiel Panton Black" charset="0"/>
                <a:cs typeface="iCiel Panton Black" charset="0"/>
              </a:rPr>
              <a:t> the world – from “connected means threatened” to “connected means protected”</a:t>
            </a:r>
            <a:endParaRPr lang="en-US" sz="1200" b="0" dirty="0">
              <a:solidFill>
                <a:schemeClr val="bg1"/>
              </a:solidFill>
              <a:latin typeface="iCiel Panton Black" charset="0"/>
              <a:ea typeface="iCiel Panton Black" charset="0"/>
              <a:cs typeface="iCiel Panton Black" charset="0"/>
            </a:endParaRP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EBE983-F310-49E2-A9F8-F6E0B61F83D9}" type="slidenum">
              <a:rPr lang="cs-CZ" smtClean="0"/>
              <a:pPr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7952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6B109F5-F341-480D-8BD7-F53F1CCD35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1E8A0B1-AE82-49BF-B74B-319D35D0DE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7F00BCF-3547-4BDC-BF1D-96A918E113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F1470DA-EEB2-4A6C-B434-47BD5CBE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192D6CA-7EE7-42D9-9970-4033C407F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983443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FE2C70-103C-4542-AEE4-572B76D08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B19ACEC-9848-44A1-B5FF-346F21F7F8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22A3E01-1202-40BD-A31E-5CD8B4D340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D0DAEA4-7FDC-4CCE-AC41-1253D74D0DB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61509EE-845B-480F-80F7-161E5C8748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F6A148D-B3BC-449A-B293-0BD3F42F35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ABE58A0-20DF-4B4C-A5BC-6A496D192D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8BF73990-D5E9-42A9-BB09-4EF95F3B3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35627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07ACE68-3EFB-4887-871B-6605A7E2E4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EE1A897-25AF-4E5A-BA7B-0A89B51A13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48F8FB4C-5941-4EEE-A023-EBC183F5F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D1B67A46-C37D-4A9F-8BA0-077635AA1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99932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2A4C592E-21B0-4A99-A1D7-FF0F664775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917F005-26CB-4F97-8C23-3C6A6A843B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2961EA2-CC1E-4FD7-98B3-C69B9AA2F6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6280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9945AE2-0182-40B6-81F3-E619A6BC2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B469489-9121-4179-A5D2-CF85FA89E6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4000449-B7A2-42D2-9631-CEB3F9725F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F5EE4B0-63A3-4552-B10E-AFE1CBE9E8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BC647F6-51E6-4DFC-A417-404F3DF35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3A7787B-CB75-4672-87EA-7E2FC4823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82944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7E44206-6CB1-4CFF-8078-913532E7A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B391AE-17C1-4B25-B17A-7722421DF21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DAA6E9EC-9D33-41A8-859D-DD50456D42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69BAEAB-8CEA-43AB-B859-80FB34053B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8A4DCBE-2424-4291-AFE7-CCF730E26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2770278-038E-43AF-A661-713671BB8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0885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283F52-3960-43DF-9E47-07A22AA4B2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75926F1-DB4E-4F35-B8C2-78D9CB00DD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81C3887-248B-4DCB-8F3B-817285D978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A1BC742-C2BA-40DD-8559-B2BE38F05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14A973-3211-4C92-A2CA-D8F2076CA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941186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E398D5C7-4E9D-4E14-AE57-DB1C26BE74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D081F5A-20CD-46BE-9466-D2F221827A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E6E3A46-3372-454C-8918-92054EB44D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BB188FC-6434-4A4D-B7B9-915A0A38E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BBD8E33-0B73-45A4-8190-E7B724FCE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65736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pick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4690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31861" y="628651"/>
            <a:ext cx="10528297" cy="682260"/>
          </a:xfrm>
        </p:spPr>
        <p:txBody>
          <a:bodyPr anchor="b">
            <a:normAutofit/>
          </a:bodyPr>
          <a:lstStyle>
            <a:lvl1pPr algn="l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1861" y="1598916"/>
            <a:ext cx="10528297" cy="4630439"/>
          </a:xfrm>
        </p:spPr>
        <p:txBody>
          <a:bodyPr/>
          <a:lstStyle>
            <a:lvl1pPr marL="0" indent="0" algn="l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May 2019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32A2C-BE48-45B3-84BA-D32AEF0E01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5182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alebone intro zele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7954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lký titul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831851" y="628651"/>
            <a:ext cx="10515600" cy="2645388"/>
          </a:xfrm>
        </p:spPr>
        <p:txBody>
          <a:bodyPr anchor="b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831851" y="3562039"/>
            <a:ext cx="10515600" cy="2667312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9049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ek + text + odráž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987426"/>
            <a:ext cx="10514012" cy="1069974"/>
          </a:xfrm>
        </p:spPr>
        <p:txBody>
          <a:bodyPr anchor="t" anchorCtr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281954"/>
            <a:ext cx="5051213" cy="3947397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6302586" y="2281954"/>
            <a:ext cx="5051213" cy="3947397"/>
          </a:xfr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bod 1</a:t>
            </a:r>
          </a:p>
          <a:p>
            <a:pPr lvl="0"/>
            <a:r>
              <a:rPr lang="cs-CZ" dirty="0"/>
              <a:t>bod 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179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6B109F5-F341-480D-8BD7-F53F1CCD35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1E8A0B1-AE82-49BF-B74B-319D35D0DE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7F00BCF-3547-4BDC-BF1D-96A918E113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F1470DA-EEB2-4A6C-B434-47BD5CBE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192D6CA-7EE7-42D9-9970-4033C407F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6452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2BBBBF-2B08-45E4-A171-E04B2BCFD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0DFEEB7-EDF9-4306-894A-24617EC1E9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B654E99-363E-4F59-9FB8-9E0836061A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3859110-8D7A-432D-B03A-77B0CBA79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E543242-B9D6-4092-A7FC-31F2E7A9B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015298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CF0712A-6D33-4581-9739-D7E1AF97D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9A2DD82-448B-4C4E-A10A-7FE7A160F2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6D35ADA-3AC6-45E0-A7EE-D53257F5C4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FCA90FF-08C9-4201-8D65-E5E0C0436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69F91E4-157B-4FBC-98FE-DE80713D3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02257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955D729-CFB8-43D4-BCC5-5986A6CA9E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7C3CB22-3A34-4FDE-BEDB-582EDCBF75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DB06C0C-85D3-4FDC-9B26-EFF7FAC076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31430EA-C318-48D6-AA25-364739D5E9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D40BE7F-8622-4552-BF77-300FD7A290F7}" type="datetimeFigureOut">
              <a:rPr lang="cs-CZ" smtClean="0"/>
              <a:t>21.11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B0A5276-0315-4489-8EFE-D171F5D62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366D9F2-2FEB-4B80-B83A-83110DAAF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ADB5F48-392E-4F86-9679-8CD6EC30207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80148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4749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0569350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7690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jp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gif"/><Relationship Id="rId13" Type="http://schemas.openxmlformats.org/officeDocument/2006/relationships/image" Target="../media/image20.png"/><Relationship Id="rId18" Type="http://schemas.openxmlformats.org/officeDocument/2006/relationships/image" Target="../media/image6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jp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jpg"/><Relationship Id="rId15" Type="http://schemas.openxmlformats.org/officeDocument/2006/relationships/image" Target="../media/image22.jpeg"/><Relationship Id="rId10" Type="http://schemas.openxmlformats.org/officeDocument/2006/relationships/image" Target="../media/image17.jpeg"/><Relationship Id="rId19" Type="http://schemas.openxmlformats.org/officeDocument/2006/relationships/image" Target="../media/image25.png"/><Relationship Id="rId4" Type="http://schemas.openxmlformats.org/officeDocument/2006/relationships/image" Target="../media/image11.jpg"/><Relationship Id="rId9" Type="http://schemas.openxmlformats.org/officeDocument/2006/relationships/image" Target="../media/image16.jpg"/><Relationship Id="rId1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tiff"/><Relationship Id="rId13" Type="http://schemas.openxmlformats.org/officeDocument/2006/relationships/image" Target="../media/image36.tiff"/><Relationship Id="rId3" Type="http://schemas.openxmlformats.org/officeDocument/2006/relationships/image" Target="../media/image26.png"/><Relationship Id="rId7" Type="http://schemas.openxmlformats.org/officeDocument/2006/relationships/image" Target="../media/image30.tiff"/><Relationship Id="rId12" Type="http://schemas.openxmlformats.org/officeDocument/2006/relationships/image" Target="../media/image35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tiff"/><Relationship Id="rId11" Type="http://schemas.openxmlformats.org/officeDocument/2006/relationships/image" Target="../media/image34.tiff"/><Relationship Id="rId5" Type="http://schemas.openxmlformats.org/officeDocument/2006/relationships/image" Target="../media/image28.tiff"/><Relationship Id="rId10" Type="http://schemas.openxmlformats.org/officeDocument/2006/relationships/image" Target="../media/image33.tiff"/><Relationship Id="rId4" Type="http://schemas.openxmlformats.org/officeDocument/2006/relationships/image" Target="../media/image27.tiff"/><Relationship Id="rId9" Type="http://schemas.openxmlformats.org/officeDocument/2006/relationships/image" Target="../media/image32.tiff"/><Relationship Id="rId14" Type="http://schemas.openxmlformats.org/officeDocument/2006/relationships/image" Target="../media/image37.tif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397155" y="5059369"/>
            <a:ext cx="7346903" cy="1179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cs-CZ" sz="2400" dirty="0">
                <a:solidFill>
                  <a:schemeClr val="bg1"/>
                </a:solidFill>
              </a:rPr>
              <a:t>Základní informace datová bezpečnost malým firmám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cs-CZ" dirty="0">
                <a:solidFill>
                  <a:schemeClr val="bg1"/>
                </a:solidFill>
              </a:rPr>
              <a:t>Jiří Šálek</a:t>
            </a:r>
            <a:endParaRPr lang="en-US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cs-CZ" dirty="0">
                <a:solidFill>
                  <a:schemeClr val="bg1"/>
                </a:solidFill>
              </a:rPr>
              <a:t>SOLEDPRO s.r.o.</a:t>
            </a:r>
            <a:endParaRPr lang="de-AT" dirty="0">
              <a:solidFill>
                <a:schemeClr val="bg1"/>
              </a:solidFill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3023" y="161544"/>
            <a:ext cx="5535168" cy="1780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833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4F319EC4-47DA-4BBD-8DEF-91ED5ECB26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9672" y="178888"/>
            <a:ext cx="2103302" cy="676715"/>
          </a:xfrm>
          <a:prstGeom prst="rect">
            <a:avLst/>
          </a:prstGeom>
        </p:spPr>
      </p:pic>
      <p:sp>
        <p:nvSpPr>
          <p:cNvPr id="9" name="Nadpis 8">
            <a:extLst>
              <a:ext uri="{FF2B5EF4-FFF2-40B4-BE49-F238E27FC236}">
                <a16:creationId xmlns:a16="http://schemas.microsoft.com/office/drawing/2014/main" id="{D137F4E1-333B-A1D0-4146-A75DEBBB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994" y="1296518"/>
            <a:ext cx="10514012" cy="953701"/>
          </a:xfrm>
        </p:spPr>
        <p:txBody>
          <a:bodyPr/>
          <a:lstStyle/>
          <a:p>
            <a:pPr algn="ctr"/>
            <a:r>
              <a:rPr lang="cs-CZ" sz="6000" b="1" dirty="0">
                <a:latin typeface="+mn-lt"/>
              </a:rPr>
              <a:t>Bezpečnost pro sítě do 100 PC</a:t>
            </a:r>
            <a:br>
              <a:rPr lang="cs-CZ" sz="6000" b="1" dirty="0">
                <a:latin typeface="+mn-lt"/>
              </a:rPr>
            </a:br>
            <a:br>
              <a:rPr lang="cs-CZ" sz="6000" b="1" dirty="0">
                <a:latin typeface="+mn-lt"/>
              </a:rPr>
            </a:br>
            <a:br>
              <a:rPr lang="cs-CZ" sz="6000" b="1" dirty="0">
                <a:latin typeface="+mn-lt"/>
              </a:rPr>
            </a:br>
            <a:br>
              <a:rPr lang="cs-CZ" sz="6600" b="1" dirty="0">
                <a:latin typeface="+mn-lt"/>
              </a:rPr>
            </a:br>
            <a:br>
              <a:rPr lang="cs-CZ" sz="6600" b="1" dirty="0">
                <a:latin typeface="+mn-lt"/>
              </a:rPr>
            </a:br>
            <a:endParaRPr lang="cs-CZ" sz="6600" b="1" dirty="0">
              <a:latin typeface="+mn-lt"/>
            </a:endParaRPr>
          </a:p>
        </p:txBody>
      </p:sp>
      <p:sp>
        <p:nvSpPr>
          <p:cNvPr id="2" name="TextovéPole 1"/>
          <p:cNvSpPr txBox="1"/>
          <p:nvPr/>
        </p:nvSpPr>
        <p:spPr>
          <a:xfrm>
            <a:off x="838994" y="2691134"/>
            <a:ext cx="1064679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Mnoho z nás, kteří pracujeme s daty moc dobře víme, jak jsou důležitá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Řešíme bezpečnost svých souborů, kontaktů s Internetem, elektronickou komunikaci a další možná slabá míst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Zvolené technologie fungují občas spolehlivě a občas méně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Nicméně jsme dosud nepoznali řešení, jehož účinnost se blíží nikoli 100%, ale aspoň 85-90%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Rád bych Vám s dovolením rád pověděl o ryze českém produktu, který to zřejmě umí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Extrémně hodně muziky za málo peněz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PROSÍM KLIKNĚTE</a:t>
            </a:r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636" y="431979"/>
            <a:ext cx="1333500" cy="71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1014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4F319EC4-47DA-4BBD-8DEF-91ED5ECB26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9672" y="178888"/>
            <a:ext cx="2103302" cy="676715"/>
          </a:xfrm>
          <a:prstGeom prst="rect">
            <a:avLst/>
          </a:prstGeom>
        </p:spPr>
      </p:pic>
      <p:sp>
        <p:nvSpPr>
          <p:cNvPr id="9" name="Nadpis 8">
            <a:extLst>
              <a:ext uri="{FF2B5EF4-FFF2-40B4-BE49-F238E27FC236}">
                <a16:creationId xmlns:a16="http://schemas.microsoft.com/office/drawing/2014/main" id="{D137F4E1-333B-A1D0-4146-A75DEBBB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994" y="1296518"/>
            <a:ext cx="10514012" cy="953701"/>
          </a:xfrm>
        </p:spPr>
        <p:txBody>
          <a:bodyPr/>
          <a:lstStyle/>
          <a:p>
            <a:pPr algn="ctr"/>
            <a:r>
              <a:rPr lang="cs-CZ" sz="6000" b="1" dirty="0"/>
              <a:t>Bezpečnost pro sítě do 100 PC</a:t>
            </a:r>
            <a:endParaRPr lang="cs-CZ" sz="6600" b="1" dirty="0"/>
          </a:p>
        </p:txBody>
      </p:sp>
      <p:sp>
        <p:nvSpPr>
          <p:cNvPr id="3" name="Obdélník 2"/>
          <p:cNvSpPr/>
          <p:nvPr/>
        </p:nvSpPr>
        <p:spPr>
          <a:xfrm>
            <a:off x="1171208" y="2154797"/>
            <a:ext cx="10106391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Tato technologie je vyvíjena od roku 2015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Bylo zjištěno, že existuje nechráněné slabé místo, kudy prochází mnoho kolizních situací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Je to DNS překla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Technologie je pojmenována Whalebon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Vzali jsme si příklad z velryby, </a:t>
            </a:r>
          </a:p>
          <a:p>
            <a:r>
              <a:rPr lang="cs-CZ" sz="2400" dirty="0"/>
              <a:t>která svými kosticemi filtruje pouze to, co chce</a:t>
            </a:r>
          </a:p>
          <a:p>
            <a:endParaRPr lang="cs-CZ" sz="2400" dirty="0"/>
          </a:p>
          <a:p>
            <a:endParaRPr lang="cs-CZ" sz="2400" dirty="0"/>
          </a:p>
          <a:p>
            <a:endParaRPr lang="cs-CZ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cs-CZ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cs-CZ" sz="2400" dirty="0"/>
              <a:t>Naše společnost je hrdá na spolupráci od vzniku této technologie 2016</a:t>
            </a: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696" y="362767"/>
            <a:ext cx="1329043" cy="713294"/>
          </a:xfrm>
          <a:prstGeom prst="rect">
            <a:avLst/>
          </a:prstGeom>
        </p:spPr>
      </p:pic>
      <p:pic>
        <p:nvPicPr>
          <p:cNvPr id="4" name="Obrázek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372" y="3612252"/>
            <a:ext cx="3390900" cy="266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061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4F319EC4-47DA-4BBD-8DEF-91ED5ECB26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9672" y="178888"/>
            <a:ext cx="2103302" cy="676715"/>
          </a:xfrm>
          <a:prstGeom prst="rect">
            <a:avLst/>
          </a:prstGeom>
        </p:spPr>
      </p:pic>
      <p:sp>
        <p:nvSpPr>
          <p:cNvPr id="9" name="Nadpis 8">
            <a:extLst>
              <a:ext uri="{FF2B5EF4-FFF2-40B4-BE49-F238E27FC236}">
                <a16:creationId xmlns:a16="http://schemas.microsoft.com/office/drawing/2014/main" id="{D137F4E1-333B-A1D0-4146-A75DEBBBA6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994" y="1296518"/>
            <a:ext cx="10514012" cy="953701"/>
          </a:xfrm>
        </p:spPr>
        <p:txBody>
          <a:bodyPr/>
          <a:lstStyle/>
          <a:p>
            <a:pPr algn="ctr"/>
            <a:r>
              <a:rPr lang="cs-CZ" sz="6000" b="1" dirty="0"/>
              <a:t>Bezpečnost pro sítě do 100 PC</a:t>
            </a:r>
            <a:br>
              <a:rPr lang="cs-CZ" sz="6000" b="1" dirty="0"/>
            </a:br>
            <a:br>
              <a:rPr lang="cs-CZ" sz="6000" b="1" dirty="0"/>
            </a:br>
            <a:r>
              <a:rPr lang="de-DE" dirty="0">
                <a:latin typeface="+mn-lt"/>
              </a:rPr>
              <a:t>Whalebone </a:t>
            </a:r>
            <a:r>
              <a:rPr lang="de-DE" dirty="0" err="1">
                <a:latin typeface="+mn-lt"/>
              </a:rPr>
              <a:t>chrání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počítačové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ítě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proti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činnostem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malwaru</a:t>
            </a:r>
            <a:r>
              <a:rPr lang="de-DE" dirty="0">
                <a:latin typeface="+mn-lt"/>
              </a:rPr>
              <a:t> a </a:t>
            </a:r>
            <a:r>
              <a:rPr lang="de-DE" dirty="0" err="1">
                <a:latin typeface="+mn-lt"/>
              </a:rPr>
              <a:t>jeho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nfekcím</a:t>
            </a:r>
            <a:r>
              <a:rPr lang="de-DE" dirty="0">
                <a:latin typeface="+mn-lt"/>
              </a:rPr>
              <a:t>. </a:t>
            </a:r>
            <a:r>
              <a:rPr lang="de-DE" dirty="0" err="1">
                <a:latin typeface="+mn-lt"/>
              </a:rPr>
              <a:t>Náš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globální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cluster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shromažďující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nformace</a:t>
            </a:r>
            <a:r>
              <a:rPr lang="de-DE" dirty="0">
                <a:latin typeface="+mn-lt"/>
              </a:rPr>
              <a:t> o </a:t>
            </a:r>
            <a:r>
              <a:rPr lang="de-DE" dirty="0" err="1">
                <a:latin typeface="+mn-lt"/>
              </a:rPr>
              <a:t>bezpečnostních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ncidentech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zajišťuj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prakticky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okamžité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reakce</a:t>
            </a:r>
            <a:r>
              <a:rPr lang="de-DE" dirty="0">
                <a:latin typeface="+mn-lt"/>
              </a:rPr>
              <a:t> — </a:t>
            </a:r>
            <a:r>
              <a:rPr lang="de-DE" dirty="0" err="1">
                <a:latin typeface="+mn-lt"/>
              </a:rPr>
              <a:t>síť</a:t>
            </a:r>
            <a:r>
              <a:rPr lang="de-DE" dirty="0">
                <a:latin typeface="+mn-lt"/>
              </a:rPr>
              <a:t> je </a:t>
            </a:r>
            <a:r>
              <a:rPr lang="de-DE" dirty="0" err="1">
                <a:latin typeface="+mn-lt"/>
              </a:rPr>
              <a:t>chráněna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aniž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byst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ladili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konfiguraci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nebo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instalovali</a:t>
            </a:r>
            <a:r>
              <a:rPr lang="de-DE" dirty="0">
                <a:latin typeface="+mn-lt"/>
              </a:rPr>
              <a:t> software.</a:t>
            </a:r>
            <a:br>
              <a:rPr lang="cs-CZ" sz="6600" b="1" dirty="0">
                <a:latin typeface="+mn-lt"/>
              </a:rPr>
            </a:br>
            <a:br>
              <a:rPr lang="cs-CZ" sz="6600" b="1" dirty="0"/>
            </a:br>
            <a:endParaRPr lang="cs-CZ" sz="6600" b="1" dirty="0"/>
          </a:p>
        </p:txBody>
      </p:sp>
      <p:sp>
        <p:nvSpPr>
          <p:cNvPr id="3" name="Obdélník 2"/>
          <p:cNvSpPr/>
          <p:nvPr/>
        </p:nvSpPr>
        <p:spPr>
          <a:xfrm>
            <a:off x="1543878" y="2321802"/>
            <a:ext cx="910424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endParaRPr lang="cs-CZ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cs-CZ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cs-CZ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cs-CZ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cs-CZ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cs-CZ" dirty="0"/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841" y="511641"/>
            <a:ext cx="1329043" cy="71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462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492C13-9F24-4063-B970-220725CB5B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1849" y="1128858"/>
            <a:ext cx="10528297" cy="682260"/>
          </a:xfrm>
        </p:spPr>
        <p:txBody>
          <a:bodyPr/>
          <a:lstStyle/>
          <a:p>
            <a:r>
              <a:rPr lang="cs-CZ" sz="3600" b="1" u="sng" dirty="0">
                <a:latin typeface="+mn-lt"/>
              </a:rPr>
              <a:t>Charakteristika služby </a:t>
            </a:r>
            <a:r>
              <a:rPr lang="cs-CZ" sz="3600" b="1" u="sng" dirty="0" err="1">
                <a:latin typeface="+mn-lt"/>
              </a:rPr>
              <a:t>Whalebone</a:t>
            </a:r>
            <a:endParaRPr lang="en-US" sz="3600" b="1" u="sng" dirty="0">
              <a:latin typeface="+mn-l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DEC853-87FA-495C-A279-10DC38242D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6942" y="2494758"/>
            <a:ext cx="10528297" cy="4651764"/>
          </a:xfrm>
        </p:spPr>
        <p:txBody>
          <a:bodyPr/>
          <a:lstStyle/>
          <a:p>
            <a:pPr algn="l"/>
            <a:r>
              <a:rPr lang="cs-CZ" sz="3600" dirty="0"/>
              <a:t>Řešení Whalebone je postaveno na procesu DNS překladu, přidává bezpečnostní funkce do provozu, který infrastruktura již využívá. Whalebone průběžně zpracovává mnoho různých zdrojů informací o </a:t>
            </a:r>
            <a:r>
              <a:rPr lang="cs-CZ" sz="3600" dirty="0" err="1"/>
              <a:t>malwaru</a:t>
            </a:r>
            <a:r>
              <a:rPr lang="cs-CZ" sz="3600" dirty="0"/>
              <a:t>, </a:t>
            </a:r>
            <a:r>
              <a:rPr lang="cs-CZ" sz="3600" dirty="0" err="1"/>
              <a:t>phishingu</a:t>
            </a:r>
            <a:r>
              <a:rPr lang="cs-CZ" sz="3600" dirty="0"/>
              <a:t>, </a:t>
            </a:r>
            <a:r>
              <a:rPr lang="cs-CZ" sz="3600" dirty="0" err="1"/>
              <a:t>botnetech</a:t>
            </a:r>
            <a:r>
              <a:rPr lang="cs-CZ" sz="3600" dirty="0"/>
              <a:t> a dalších hrozbách, aby poskytlo co nepřesnější výsledky při filtrování DNS provozu</a:t>
            </a:r>
            <a:endParaRPr lang="cs-CZ" sz="3600" b="1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2A762349-74AC-4770-9EB4-28B11CD518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29672" y="178888"/>
            <a:ext cx="2103302" cy="676715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942" y="424569"/>
            <a:ext cx="1329043" cy="71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201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314423" y="1188292"/>
            <a:ext cx="7029438" cy="684000"/>
          </a:xfrm>
        </p:spPr>
        <p:txBody>
          <a:bodyPr anchor="b" anchorCtr="0"/>
          <a:lstStyle/>
          <a:p>
            <a:br>
              <a:rPr lang="cs-CZ" b="1" u="sng" dirty="0">
                <a:latin typeface="+mn-lt"/>
              </a:rPr>
            </a:br>
            <a:endParaRPr lang="cs-CZ" b="1" u="sng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10"/>
          </p:nvPr>
        </p:nvSpPr>
        <p:spPr>
          <a:xfrm>
            <a:off x="1640586" y="1335775"/>
            <a:ext cx="8557620" cy="5054559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cs-CZ" sz="3600" b="0" i="0" dirty="0">
                <a:effectLst/>
                <a:latin typeface="DM Serif Text" panose="020B0604020202020204" pitchFamily="2" charset="0"/>
              </a:rPr>
              <a:t>Pozvánka k vyzkoušení Whalebon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cs-CZ" sz="2000" dirty="0">
                <a:latin typeface="DM Serif Text" panose="020B0604020202020204" pitchFamily="2" charset="0"/>
              </a:rPr>
              <a:t>Základní představení této technologie zabere 20-30 minut Vašeho času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cs-CZ" sz="2000" dirty="0">
                <a:latin typeface="DM Serif Text" panose="020B0604020202020204" pitchFamily="2" charset="0"/>
              </a:rPr>
              <a:t>V rámci představení vysvětlíme všechny odborné aspekty</a:t>
            </a:r>
          </a:p>
          <a:p>
            <a:pPr marL="0" indent="0">
              <a:buNone/>
            </a:pPr>
            <a:endParaRPr lang="cs-CZ" sz="2000" dirty="0">
              <a:latin typeface="DM Serif Text" panose="020B0604020202020204" pitchFamily="2" charset="0"/>
            </a:endParaRPr>
          </a:p>
          <a:p>
            <a:pPr marL="0" indent="0">
              <a:buNone/>
            </a:pPr>
            <a:endParaRPr lang="cs-CZ" sz="2000" dirty="0">
              <a:latin typeface="DM Serif Text" panose="020B0604020202020204" pitchFamily="2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cs-CZ" sz="2000" dirty="0">
              <a:latin typeface="DM Serif Text" panose="020B0604020202020204" pitchFamily="2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cs-CZ" sz="2000" dirty="0">
              <a:latin typeface="DM Serif Text" panose="020B0604020202020204" pitchFamily="2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cs-CZ" sz="2000" dirty="0">
              <a:latin typeface="DM Serif Text" panose="020B0604020202020204" pitchFamily="2" charset="0"/>
            </a:endParaRPr>
          </a:p>
          <a:p>
            <a:pPr marL="0" indent="0">
              <a:buNone/>
            </a:pPr>
            <a:endParaRPr lang="cs-CZ" sz="2000" dirty="0">
              <a:latin typeface="DM Serif Text" panose="020B0604020202020204" pitchFamily="2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cs-CZ" sz="2000" dirty="0">
                <a:latin typeface="DM Serif Text" panose="020B0604020202020204" pitchFamily="2" charset="0"/>
              </a:rPr>
              <a:t>Provoz nové služby Vám nevezme ani minutu Vašeho času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cs-CZ" sz="2000" dirty="0">
                <a:latin typeface="DM Serif Text" panose="020B0604020202020204" pitchFamily="2" charset="0"/>
              </a:rPr>
              <a:t>Umožníme Vám 2 týdny provozu zcela zdarma</a:t>
            </a:r>
          </a:p>
          <a:p>
            <a:pPr>
              <a:buFont typeface="Wingdings" panose="05000000000000000000" pitchFamily="2" charset="2"/>
              <a:buChar char="Ø"/>
            </a:pPr>
            <a:endParaRPr lang="cs-CZ" sz="2000" dirty="0">
              <a:latin typeface="DM Serif Text" panose="020B0604020202020204" pitchFamily="2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cs-CZ" dirty="0">
              <a:latin typeface="DM Serif Text" panose="020B0604020202020204" pitchFamily="2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cs-CZ" b="0" i="0" dirty="0">
              <a:effectLst/>
              <a:latin typeface="DM Serif Text" panose="020B0604020202020204" pitchFamily="2" charset="0"/>
            </a:endParaRPr>
          </a:p>
          <a:p>
            <a:pPr>
              <a:buFont typeface="Wingdings" panose="05000000000000000000" pitchFamily="2" charset="2"/>
              <a:buChar char="Ø"/>
            </a:pPr>
            <a:endParaRPr lang="cs-CZ" b="0" i="0" dirty="0">
              <a:effectLst/>
              <a:latin typeface="DM Serif Text" panose="020B0604020202020204" pitchFamily="2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4F319EC4-47DA-4BBD-8DEF-91ED5ECB26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9672" y="178888"/>
            <a:ext cx="2103302" cy="676715"/>
          </a:xfrm>
          <a:prstGeom prst="rect">
            <a:avLst/>
          </a:prstGeom>
        </p:spPr>
      </p:pic>
      <p:pic>
        <p:nvPicPr>
          <p:cNvPr id="3" name="Obráze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4164" y="474998"/>
            <a:ext cx="1329043" cy="713294"/>
          </a:xfrm>
          <a:prstGeom prst="rect">
            <a:avLst/>
          </a:prstGeom>
        </p:spPr>
      </p:pic>
      <p:sp>
        <p:nvSpPr>
          <p:cNvPr id="8" name="TextovéPole 7"/>
          <p:cNvSpPr txBox="1"/>
          <p:nvPr/>
        </p:nvSpPr>
        <p:spPr>
          <a:xfrm>
            <a:off x="6903057" y="756699"/>
            <a:ext cx="2027583" cy="7235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dirty="0"/>
          </a:p>
        </p:txBody>
      </p:sp>
      <p:sp>
        <p:nvSpPr>
          <p:cNvPr id="9" name="TextovéPole 8"/>
          <p:cNvSpPr txBox="1"/>
          <p:nvPr/>
        </p:nvSpPr>
        <p:spPr>
          <a:xfrm>
            <a:off x="7055457" y="909099"/>
            <a:ext cx="2027583" cy="7235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dirty="0"/>
          </a:p>
        </p:txBody>
      </p:sp>
      <p:sp>
        <p:nvSpPr>
          <p:cNvPr id="10" name="TextovéPole 9"/>
          <p:cNvSpPr txBox="1"/>
          <p:nvPr/>
        </p:nvSpPr>
        <p:spPr>
          <a:xfrm>
            <a:off x="7207857" y="1061499"/>
            <a:ext cx="2027583" cy="7235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cs-CZ" dirty="0"/>
          </a:p>
        </p:txBody>
      </p:sp>
      <p:sp>
        <p:nvSpPr>
          <p:cNvPr id="11" name="TextovéPole 10"/>
          <p:cNvSpPr txBox="1"/>
          <p:nvPr/>
        </p:nvSpPr>
        <p:spPr>
          <a:xfrm>
            <a:off x="5019056" y="3635123"/>
            <a:ext cx="15756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roti </a:t>
            </a:r>
            <a:r>
              <a:rPr lang="cs-CZ" b="1" dirty="0" err="1"/>
              <a:t>malware</a:t>
            </a:r>
            <a:endParaRPr lang="cs-CZ" b="1" dirty="0"/>
          </a:p>
        </p:txBody>
      </p:sp>
      <p:sp>
        <p:nvSpPr>
          <p:cNvPr id="12" name="TextovéPole 11"/>
          <p:cNvSpPr txBox="1"/>
          <p:nvPr/>
        </p:nvSpPr>
        <p:spPr>
          <a:xfrm rot="20584521">
            <a:off x="7502575" y="3143460"/>
            <a:ext cx="1434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roti </a:t>
            </a:r>
            <a:r>
              <a:rPr lang="cs-CZ" b="1" dirty="0" err="1"/>
              <a:t>ransomware</a:t>
            </a:r>
            <a:endParaRPr lang="cs-CZ" b="1" dirty="0"/>
          </a:p>
        </p:txBody>
      </p:sp>
      <p:sp>
        <p:nvSpPr>
          <p:cNvPr id="14" name="TextovéPole 13"/>
          <p:cNvSpPr txBox="1"/>
          <p:nvPr/>
        </p:nvSpPr>
        <p:spPr>
          <a:xfrm rot="20378140">
            <a:off x="3315805" y="3107027"/>
            <a:ext cx="14927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chrana proti </a:t>
            </a:r>
            <a:r>
              <a:rPr lang="cs-CZ" b="1" dirty="0" err="1"/>
              <a:t>botnetu</a:t>
            </a:r>
            <a:endParaRPr lang="cs-CZ" b="1" dirty="0"/>
          </a:p>
        </p:txBody>
      </p:sp>
      <p:sp>
        <p:nvSpPr>
          <p:cNvPr id="15" name="TextovéPole 14"/>
          <p:cNvSpPr txBox="1"/>
          <p:nvPr/>
        </p:nvSpPr>
        <p:spPr>
          <a:xfrm rot="2414441">
            <a:off x="3806226" y="4259472"/>
            <a:ext cx="180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chrana e-mailů</a:t>
            </a:r>
          </a:p>
        </p:txBody>
      </p:sp>
      <p:sp>
        <p:nvSpPr>
          <p:cNvPr id="16" name="TextovéPole 15"/>
          <p:cNvSpPr txBox="1"/>
          <p:nvPr/>
        </p:nvSpPr>
        <p:spPr>
          <a:xfrm rot="20935936">
            <a:off x="1544861" y="3984514"/>
            <a:ext cx="1751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Proti </a:t>
            </a:r>
            <a:r>
              <a:rPr lang="cs-CZ" b="1" dirty="0" err="1"/>
              <a:t>phishingu</a:t>
            </a:r>
            <a:endParaRPr lang="cs-CZ" b="1" dirty="0"/>
          </a:p>
        </p:txBody>
      </p:sp>
      <p:sp>
        <p:nvSpPr>
          <p:cNvPr id="17" name="TextovéPole 16"/>
          <p:cNvSpPr txBox="1"/>
          <p:nvPr/>
        </p:nvSpPr>
        <p:spPr>
          <a:xfrm rot="544137">
            <a:off x="7198448" y="4195406"/>
            <a:ext cx="17519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Několik stokorun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2378322" y="4446956"/>
            <a:ext cx="2266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Ochrana proti </a:t>
            </a:r>
            <a:r>
              <a:rPr lang="cs-CZ" b="1" dirty="0" err="1"/>
              <a:t>DDos</a:t>
            </a:r>
            <a:endParaRPr lang="cs-CZ" b="1" dirty="0"/>
          </a:p>
        </p:txBody>
      </p:sp>
      <p:sp>
        <p:nvSpPr>
          <p:cNvPr id="19" name="TextovéPole 18"/>
          <p:cNvSpPr txBox="1"/>
          <p:nvPr/>
        </p:nvSpPr>
        <p:spPr>
          <a:xfrm rot="20588143">
            <a:off x="5372272" y="4231039"/>
            <a:ext cx="17519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Srozumitelný reporting</a:t>
            </a:r>
          </a:p>
        </p:txBody>
      </p:sp>
      <p:sp>
        <p:nvSpPr>
          <p:cNvPr id="20" name="TextovéPole 19"/>
          <p:cNvSpPr txBox="1"/>
          <p:nvPr/>
        </p:nvSpPr>
        <p:spPr>
          <a:xfrm rot="3050858">
            <a:off x="8703698" y="3906819"/>
            <a:ext cx="1751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Filtrace provozu</a:t>
            </a:r>
          </a:p>
        </p:txBody>
      </p:sp>
      <p:sp>
        <p:nvSpPr>
          <p:cNvPr id="21" name="TextovéPole 20"/>
          <p:cNvSpPr txBox="1"/>
          <p:nvPr/>
        </p:nvSpPr>
        <p:spPr>
          <a:xfrm rot="21061956">
            <a:off x="5701405" y="3026344"/>
            <a:ext cx="1751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Technická péče</a:t>
            </a:r>
          </a:p>
        </p:txBody>
      </p:sp>
      <p:sp>
        <p:nvSpPr>
          <p:cNvPr id="22" name="TextovéPole 21"/>
          <p:cNvSpPr txBox="1"/>
          <p:nvPr/>
        </p:nvSpPr>
        <p:spPr>
          <a:xfrm rot="1276214">
            <a:off x="1647906" y="3089617"/>
            <a:ext cx="17519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IT bezpečnost</a:t>
            </a:r>
          </a:p>
        </p:txBody>
      </p:sp>
    </p:spTree>
    <p:extLst>
      <p:ext uri="{BB962C8B-B14F-4D97-AF65-F5344CB8AC3E}">
        <p14:creationId xmlns:p14="http://schemas.microsoft.com/office/powerpoint/2010/main" val="2647479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10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cs-CZ" dirty="0"/>
              <a:t> </a:t>
            </a:r>
            <a:endParaRPr lang="en-US" dirty="0"/>
          </a:p>
        </p:txBody>
      </p:sp>
      <p:sp>
        <p:nvSpPr>
          <p:cNvPr id="26" name="Nadpis 1"/>
          <p:cNvSpPr>
            <a:spLocks noGrp="1"/>
          </p:cNvSpPr>
          <p:nvPr>
            <p:ph type="ctrTitle"/>
          </p:nvPr>
        </p:nvSpPr>
        <p:spPr>
          <a:xfrm>
            <a:off x="838200" y="1216502"/>
            <a:ext cx="10528297" cy="682260"/>
          </a:xfrm>
        </p:spPr>
        <p:txBody>
          <a:bodyPr/>
          <a:lstStyle/>
          <a:p>
            <a:pPr algn="ctr"/>
            <a:r>
              <a:rPr lang="en-US" dirty="0"/>
              <a:t> </a:t>
            </a:r>
            <a:r>
              <a:rPr lang="cs-CZ" b="1" dirty="0"/>
              <a:t>R</a:t>
            </a:r>
            <a:r>
              <a:rPr lang="en-US" b="1" dirty="0"/>
              <a:t>eference</a:t>
            </a:r>
            <a:r>
              <a:rPr lang="cs-CZ" b="1" dirty="0"/>
              <a:t> korporátní klientely</a:t>
            </a:r>
            <a:endParaRPr lang="en-US" b="1" dirty="0"/>
          </a:p>
        </p:txBody>
      </p:sp>
      <p:pic>
        <p:nvPicPr>
          <p:cNvPr id="11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569" y="3230522"/>
            <a:ext cx="2464594" cy="1042988"/>
          </a:xfrm>
          <a:prstGeom prst="rect">
            <a:avLst/>
          </a:prstGeom>
        </p:spPr>
      </p:pic>
      <p:pic>
        <p:nvPicPr>
          <p:cNvPr id="12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52" y="2773007"/>
            <a:ext cx="2541932" cy="1906449"/>
          </a:xfrm>
          <a:prstGeom prst="rect">
            <a:avLst/>
          </a:prstGeom>
        </p:spPr>
      </p:pic>
      <p:pic>
        <p:nvPicPr>
          <p:cNvPr id="13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52" y="4480963"/>
            <a:ext cx="2084587" cy="1389725"/>
          </a:xfrm>
          <a:prstGeom prst="rect">
            <a:avLst/>
          </a:prstGeom>
        </p:spPr>
      </p:pic>
      <p:pic>
        <p:nvPicPr>
          <p:cNvPr id="14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43" y="1909124"/>
            <a:ext cx="1411490" cy="1411490"/>
          </a:xfrm>
          <a:prstGeom prst="rect">
            <a:avLst/>
          </a:prstGeom>
        </p:spPr>
      </p:pic>
      <p:pic>
        <p:nvPicPr>
          <p:cNvPr id="15" name="Picture 12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625" y="2077893"/>
            <a:ext cx="1664804" cy="1242721"/>
          </a:xfrm>
          <a:prstGeom prst="rect">
            <a:avLst/>
          </a:prstGeom>
        </p:spPr>
      </p:pic>
      <p:pic>
        <p:nvPicPr>
          <p:cNvPr id="16" name="Picture 6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3018" y="4847511"/>
            <a:ext cx="2279147" cy="692814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7255" y="3295002"/>
            <a:ext cx="2286000" cy="1128713"/>
          </a:xfrm>
          <a:prstGeom prst="rect">
            <a:avLst/>
          </a:prstGeom>
        </p:spPr>
      </p:pic>
      <p:pic>
        <p:nvPicPr>
          <p:cNvPr id="18" name="Obrázek 17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67" t="28481" r="10420" b="25231"/>
          <a:stretch/>
        </p:blipFill>
        <p:spPr>
          <a:xfrm>
            <a:off x="5972375" y="2194863"/>
            <a:ext cx="2216203" cy="840012"/>
          </a:xfrm>
          <a:prstGeom prst="rect">
            <a:avLst/>
          </a:prstGeom>
        </p:spPr>
      </p:pic>
      <p:pic>
        <p:nvPicPr>
          <p:cNvPr id="22" name="Obrázek 21"/>
          <p:cNvPicPr>
            <a:picLocks noChangeAspect="1"/>
          </p:cNvPicPr>
          <p:nvPr/>
        </p:nvPicPr>
        <p:blipFill rotWithShape="1">
          <a:blip r:embed="rId11"/>
          <a:srcRect l="45463"/>
          <a:stretch/>
        </p:blipFill>
        <p:spPr>
          <a:xfrm>
            <a:off x="6197856" y="4679456"/>
            <a:ext cx="2185693" cy="860869"/>
          </a:xfrm>
          <a:prstGeom prst="rect">
            <a:avLst/>
          </a:prstGeom>
        </p:spPr>
      </p:pic>
      <p:pic>
        <p:nvPicPr>
          <p:cNvPr id="3" name="Picture 9">
            <a:extLst>
              <a:ext uri="{FF2B5EF4-FFF2-40B4-BE49-F238E27FC236}">
                <a16:creationId xmlns:a16="http://schemas.microsoft.com/office/drawing/2014/main" id="{1019EB8A-5297-46A8-816D-511A97C10B7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0221" y="3352215"/>
            <a:ext cx="2535714" cy="1014286"/>
          </a:xfrm>
          <a:prstGeom prst="rect">
            <a:avLst/>
          </a:prstGeom>
        </p:spPr>
      </p:pic>
      <p:pic>
        <p:nvPicPr>
          <p:cNvPr id="4" name="Picture 10">
            <a:extLst>
              <a:ext uri="{FF2B5EF4-FFF2-40B4-BE49-F238E27FC236}">
                <a16:creationId xmlns:a16="http://schemas.microsoft.com/office/drawing/2014/main" id="{80BA840E-B303-40A0-ACB9-820B62806F3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9837" y="5390259"/>
            <a:ext cx="1356074" cy="1356074"/>
          </a:xfrm>
          <a:prstGeom prst="rect">
            <a:avLst/>
          </a:prstGeom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68FCC4EA-FB75-4AB6-A182-69077F57B866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3165" y="4632977"/>
            <a:ext cx="2227757" cy="900386"/>
          </a:xfrm>
          <a:prstGeom prst="rect">
            <a:avLst/>
          </a:prstGeom>
        </p:spPr>
      </p:pic>
      <p:pic>
        <p:nvPicPr>
          <p:cNvPr id="6" name="Picture 13">
            <a:extLst>
              <a:ext uri="{FF2B5EF4-FFF2-40B4-BE49-F238E27FC236}">
                <a16:creationId xmlns:a16="http://schemas.microsoft.com/office/drawing/2014/main" id="{FE900C49-8041-4A0E-80C7-F65BFD4BAC8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7258" y="5577263"/>
            <a:ext cx="1411779" cy="1058338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29E87B9B-5A4C-4984-A634-E39FDC6059ED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866" b="30564"/>
          <a:stretch/>
        </p:blipFill>
        <p:spPr>
          <a:xfrm>
            <a:off x="8876408" y="2147286"/>
            <a:ext cx="2424580" cy="935166"/>
          </a:xfrm>
          <a:prstGeom prst="rect">
            <a:avLst/>
          </a:prstGeom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3D6792DA-8B2C-4D71-AD00-6E082BF462A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625" y="5870688"/>
            <a:ext cx="2571750" cy="471488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DF824216-1137-40F8-A936-E8204ED7979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929672" y="178888"/>
            <a:ext cx="2103302" cy="676715"/>
          </a:xfrm>
          <a:prstGeom prst="rect">
            <a:avLst/>
          </a:prstGeom>
        </p:spPr>
      </p:pic>
      <p:pic>
        <p:nvPicPr>
          <p:cNvPr id="2" name="Obrázek 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65775" y="446209"/>
            <a:ext cx="1329043" cy="713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400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B2B28-14AC-412B-8506-C3F7D9C32C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2285" y="1158952"/>
            <a:ext cx="10528297" cy="1030019"/>
          </a:xfrm>
        </p:spPr>
        <p:txBody>
          <a:bodyPr>
            <a:normAutofit fontScale="90000"/>
          </a:bodyPr>
          <a:lstStyle/>
          <a:p>
            <a:pPr algn="ctr"/>
            <a:br>
              <a:rPr lang="cs-CZ" sz="3600" b="1" u="sng" dirty="0">
                <a:latin typeface="+mn-lt"/>
              </a:rPr>
            </a:br>
            <a:br>
              <a:rPr lang="cs-CZ" sz="3600" b="1" u="sng" dirty="0">
                <a:latin typeface="+mn-lt"/>
              </a:rPr>
            </a:br>
            <a:br>
              <a:rPr lang="cs-CZ" sz="3600" b="1" u="sng" dirty="0">
                <a:latin typeface="+mn-lt"/>
              </a:rPr>
            </a:br>
            <a:r>
              <a:rPr lang="cs-CZ" sz="3600" b="1" u="sng" dirty="0">
                <a:latin typeface="+mn-lt"/>
              </a:rPr>
              <a:t>Mezinárodní</a:t>
            </a:r>
            <a:r>
              <a:rPr lang="en-US" sz="3600" b="1" u="sng" dirty="0">
                <a:latin typeface="+mn-lt"/>
              </a:rPr>
              <a:t> reference</a:t>
            </a:r>
            <a:r>
              <a:rPr lang="cs-CZ" sz="3600" b="1" u="sng" dirty="0">
                <a:latin typeface="+mn-lt"/>
              </a:rPr>
              <a:t>   </a:t>
            </a:r>
            <a:br>
              <a:rPr lang="cs-CZ" sz="3600" b="1" u="sng" dirty="0">
                <a:latin typeface="+mn-lt"/>
              </a:rPr>
            </a:br>
            <a:r>
              <a:rPr lang="cs-CZ" sz="3600" b="1" u="sng" dirty="0">
                <a:latin typeface="+mn-lt"/>
              </a:rPr>
              <a:t>Verze Whalebone pro velké klienty, </a:t>
            </a:r>
            <a:br>
              <a:rPr lang="cs-CZ" sz="3600" b="1" u="sng" dirty="0">
                <a:latin typeface="+mn-lt"/>
              </a:rPr>
            </a:br>
            <a:r>
              <a:rPr lang="cs-CZ" sz="3600" b="1" u="sng" dirty="0">
                <a:latin typeface="+mn-lt"/>
              </a:rPr>
              <a:t>z ní vytvořen produkt pro malé sítě</a:t>
            </a:r>
            <a:br>
              <a:rPr lang="en-US" b="1" u="sng" dirty="0">
                <a:latin typeface="+mn-lt"/>
              </a:rPr>
            </a:br>
            <a:r>
              <a:rPr lang="en-US" b="1" u="sng" dirty="0">
                <a:latin typeface="+mn-lt"/>
              </a:rPr>
              <a:t> </a:t>
            </a:r>
          </a:p>
        </p:txBody>
      </p:sp>
      <p:pic>
        <p:nvPicPr>
          <p:cNvPr id="24" name="Obrázek 23">
            <a:extLst>
              <a:ext uri="{FF2B5EF4-FFF2-40B4-BE49-F238E27FC236}">
                <a16:creationId xmlns:a16="http://schemas.microsoft.com/office/drawing/2014/main" id="{F4A75205-AFF9-DC98-0858-3690152026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055" y="1867362"/>
            <a:ext cx="1924543" cy="1183069"/>
          </a:xfrm>
          <a:prstGeom prst="rect">
            <a:avLst/>
          </a:prstGeom>
        </p:spPr>
      </p:pic>
      <p:pic>
        <p:nvPicPr>
          <p:cNvPr id="25" name="Obrázek 24">
            <a:extLst>
              <a:ext uri="{FF2B5EF4-FFF2-40B4-BE49-F238E27FC236}">
                <a16:creationId xmlns:a16="http://schemas.microsoft.com/office/drawing/2014/main" id="{1C65CF21-4964-3CCD-7893-466596F7F6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4566" y="1867362"/>
            <a:ext cx="2168867" cy="1214489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Obrázek 25">
            <a:extLst>
              <a:ext uri="{FF2B5EF4-FFF2-40B4-BE49-F238E27FC236}">
                <a16:creationId xmlns:a16="http://schemas.microsoft.com/office/drawing/2014/main" id="{C70EB666-FBB5-656F-853D-841FFBD22FE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4336" y="1838967"/>
            <a:ext cx="2219261" cy="1246377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Obrázek 26">
            <a:extLst>
              <a:ext uri="{FF2B5EF4-FFF2-40B4-BE49-F238E27FC236}">
                <a16:creationId xmlns:a16="http://schemas.microsoft.com/office/drawing/2014/main" id="{D84D6B3D-E2A6-5F57-74E8-3BA0487154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4172" y="1862382"/>
            <a:ext cx="2221924" cy="1222962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Obrázek 27">
            <a:extLst>
              <a:ext uri="{FF2B5EF4-FFF2-40B4-BE49-F238E27FC236}">
                <a16:creationId xmlns:a16="http://schemas.microsoft.com/office/drawing/2014/main" id="{C77C1D01-947B-90A4-BC22-ECC73CB6B40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331" y="3478842"/>
            <a:ext cx="1921739" cy="1235674"/>
          </a:xfrm>
          <a:prstGeom prst="rect">
            <a:avLst/>
          </a:prstGeom>
          <a:noFill/>
          <a:ln>
            <a:noFill/>
          </a:ln>
        </p:spPr>
      </p:pic>
      <p:pic>
        <p:nvPicPr>
          <p:cNvPr id="29" name="Obrázek 28">
            <a:extLst>
              <a:ext uri="{FF2B5EF4-FFF2-40B4-BE49-F238E27FC236}">
                <a16:creationId xmlns:a16="http://schemas.microsoft.com/office/drawing/2014/main" id="{2FCDAAF2-10E5-8B9D-9F86-068BD844BA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0677" y="3445388"/>
            <a:ext cx="2112756" cy="1281158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Obrázek 29">
            <a:extLst>
              <a:ext uri="{FF2B5EF4-FFF2-40B4-BE49-F238E27FC236}">
                <a16:creationId xmlns:a16="http://schemas.microsoft.com/office/drawing/2014/main" id="{AC409118-C6E7-B4FD-0322-A9E1A78EE02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1173" y="3445388"/>
            <a:ext cx="2099248" cy="1246377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Obrázek 30">
            <a:extLst>
              <a:ext uri="{FF2B5EF4-FFF2-40B4-BE49-F238E27FC236}">
                <a16:creationId xmlns:a16="http://schemas.microsoft.com/office/drawing/2014/main" id="{E1719EA3-FC7C-358B-A75E-E6ECFBF2289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304" y="3480169"/>
            <a:ext cx="2155791" cy="12463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64" name="Obrázek 11263">
            <a:extLst>
              <a:ext uri="{FF2B5EF4-FFF2-40B4-BE49-F238E27FC236}">
                <a16:creationId xmlns:a16="http://schemas.microsoft.com/office/drawing/2014/main" id="{F7DCD9CB-9416-1EB8-3A8C-7244ADC60E7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859" y="5100758"/>
            <a:ext cx="1921739" cy="12811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65" name="Obrázek 11264">
            <a:extLst>
              <a:ext uri="{FF2B5EF4-FFF2-40B4-BE49-F238E27FC236}">
                <a16:creationId xmlns:a16="http://schemas.microsoft.com/office/drawing/2014/main" id="{98B7CC41-0E19-9974-740B-263037C081C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0677" y="5100758"/>
            <a:ext cx="2112756" cy="12676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67" name="Obrázek 11266">
            <a:extLst>
              <a:ext uri="{FF2B5EF4-FFF2-40B4-BE49-F238E27FC236}">
                <a16:creationId xmlns:a16="http://schemas.microsoft.com/office/drawing/2014/main" id="{A9D0F51C-71ED-DF36-5172-71493CBAF14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1172" y="5100758"/>
            <a:ext cx="2142425" cy="12811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69" name="Obrázek 11268">
            <a:extLst>
              <a:ext uri="{FF2B5EF4-FFF2-40B4-BE49-F238E27FC236}">
                <a16:creationId xmlns:a16="http://schemas.microsoft.com/office/drawing/2014/main" id="{8ECBEA7A-BFFB-B12D-7945-D8E952F9D00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270303" y="5105766"/>
            <a:ext cx="2180028" cy="1246377"/>
          </a:xfrm>
          <a:prstGeom prst="rect">
            <a:avLst/>
          </a:prstGeom>
          <a:noFill/>
          <a:ln>
            <a:noFill/>
          </a:ln>
        </p:spPr>
      </p:pic>
      <p:sp>
        <p:nvSpPr>
          <p:cNvPr id="11270" name="TextovéPole 11269">
            <a:extLst>
              <a:ext uri="{FF2B5EF4-FFF2-40B4-BE49-F238E27FC236}">
                <a16:creationId xmlns:a16="http://schemas.microsoft.com/office/drawing/2014/main" id="{344FAD86-CD74-7386-A80E-86CB3EC191CD}"/>
              </a:ext>
            </a:extLst>
          </p:cNvPr>
          <p:cNvSpPr txBox="1"/>
          <p:nvPr/>
        </p:nvSpPr>
        <p:spPr>
          <a:xfrm>
            <a:off x="910438" y="3125372"/>
            <a:ext cx="1208923" cy="233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71" name="TextovéPole 11270">
            <a:extLst>
              <a:ext uri="{FF2B5EF4-FFF2-40B4-BE49-F238E27FC236}">
                <a16:creationId xmlns:a16="http://schemas.microsoft.com/office/drawing/2014/main" id="{B9E94AF5-5CF9-2F65-D4BF-F4D0EC402678}"/>
              </a:ext>
            </a:extLst>
          </p:cNvPr>
          <p:cNvSpPr txBox="1"/>
          <p:nvPr/>
        </p:nvSpPr>
        <p:spPr>
          <a:xfrm>
            <a:off x="10322311" y="1077951"/>
            <a:ext cx="1208923" cy="233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72" name="TextovéPole 11271">
            <a:extLst>
              <a:ext uri="{FF2B5EF4-FFF2-40B4-BE49-F238E27FC236}">
                <a16:creationId xmlns:a16="http://schemas.microsoft.com/office/drawing/2014/main" id="{10F99F5C-088A-C8C9-155E-A984356C9641}"/>
              </a:ext>
            </a:extLst>
          </p:cNvPr>
          <p:cNvSpPr txBox="1"/>
          <p:nvPr/>
        </p:nvSpPr>
        <p:spPr>
          <a:xfrm>
            <a:off x="10474711" y="1230351"/>
            <a:ext cx="1208923" cy="233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73" name="TextovéPole 11272">
            <a:extLst>
              <a:ext uri="{FF2B5EF4-FFF2-40B4-BE49-F238E27FC236}">
                <a16:creationId xmlns:a16="http://schemas.microsoft.com/office/drawing/2014/main" id="{49B8523F-D776-0FD2-8283-59B7483C56E3}"/>
              </a:ext>
            </a:extLst>
          </p:cNvPr>
          <p:cNvSpPr txBox="1"/>
          <p:nvPr/>
        </p:nvSpPr>
        <p:spPr>
          <a:xfrm>
            <a:off x="947267" y="3057406"/>
            <a:ext cx="1208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tonsko</a:t>
            </a:r>
          </a:p>
        </p:txBody>
      </p:sp>
      <p:sp>
        <p:nvSpPr>
          <p:cNvPr id="11274" name="TextovéPole 11273">
            <a:extLst>
              <a:ext uri="{FF2B5EF4-FFF2-40B4-BE49-F238E27FC236}">
                <a16:creationId xmlns:a16="http://schemas.microsoft.com/office/drawing/2014/main" id="{A36370BB-7D35-D004-1664-CED1B5034634}"/>
              </a:ext>
            </a:extLst>
          </p:cNvPr>
          <p:cNvSpPr txBox="1"/>
          <p:nvPr/>
        </p:nvSpPr>
        <p:spPr>
          <a:xfrm>
            <a:off x="8786811" y="4714515"/>
            <a:ext cx="1208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go</a:t>
            </a:r>
          </a:p>
        </p:txBody>
      </p:sp>
      <p:sp>
        <p:nvSpPr>
          <p:cNvPr id="11275" name="TextovéPole 11274">
            <a:extLst>
              <a:ext uri="{FF2B5EF4-FFF2-40B4-BE49-F238E27FC236}">
                <a16:creationId xmlns:a16="http://schemas.microsoft.com/office/drawing/2014/main" id="{626ED898-1FB0-C511-87CD-94421E0AC1DB}"/>
              </a:ext>
            </a:extLst>
          </p:cNvPr>
          <p:cNvSpPr txBox="1"/>
          <p:nvPr/>
        </p:nvSpPr>
        <p:spPr>
          <a:xfrm>
            <a:off x="8786811" y="6362031"/>
            <a:ext cx="1208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nzanie</a:t>
            </a:r>
          </a:p>
        </p:txBody>
      </p:sp>
      <p:sp>
        <p:nvSpPr>
          <p:cNvPr id="11276" name="TextovéPole 11275">
            <a:extLst>
              <a:ext uri="{FF2B5EF4-FFF2-40B4-BE49-F238E27FC236}">
                <a16:creationId xmlns:a16="http://schemas.microsoft.com/office/drawing/2014/main" id="{E69E6EFB-4AB3-2DE9-1037-D9D61E74A8A8}"/>
              </a:ext>
            </a:extLst>
          </p:cNvPr>
          <p:cNvSpPr txBox="1"/>
          <p:nvPr/>
        </p:nvSpPr>
        <p:spPr>
          <a:xfrm>
            <a:off x="6073530" y="6368365"/>
            <a:ext cx="1617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rná Hora</a:t>
            </a:r>
          </a:p>
        </p:txBody>
      </p:sp>
      <p:sp>
        <p:nvSpPr>
          <p:cNvPr id="11277" name="TextovéPole 11276">
            <a:extLst>
              <a:ext uri="{FF2B5EF4-FFF2-40B4-BE49-F238E27FC236}">
                <a16:creationId xmlns:a16="http://schemas.microsoft.com/office/drawing/2014/main" id="{F0BB448C-7C93-CD3F-A601-2D129513CCF4}"/>
              </a:ext>
            </a:extLst>
          </p:cNvPr>
          <p:cNvSpPr txBox="1"/>
          <p:nvPr/>
        </p:nvSpPr>
        <p:spPr>
          <a:xfrm>
            <a:off x="6086647" y="4678990"/>
            <a:ext cx="1208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lharskoo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78" name="TextovéPole 11277">
            <a:extLst>
              <a:ext uri="{FF2B5EF4-FFF2-40B4-BE49-F238E27FC236}">
                <a16:creationId xmlns:a16="http://schemas.microsoft.com/office/drawing/2014/main" id="{C5F71272-B668-8865-A906-EC16581E86D7}"/>
              </a:ext>
            </a:extLst>
          </p:cNvPr>
          <p:cNvSpPr txBox="1"/>
          <p:nvPr/>
        </p:nvSpPr>
        <p:spPr>
          <a:xfrm>
            <a:off x="3663716" y="6335979"/>
            <a:ext cx="1208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nada</a:t>
            </a:r>
          </a:p>
        </p:txBody>
      </p:sp>
      <p:sp>
        <p:nvSpPr>
          <p:cNvPr id="11279" name="TextovéPole 11278">
            <a:extLst>
              <a:ext uri="{FF2B5EF4-FFF2-40B4-BE49-F238E27FC236}">
                <a16:creationId xmlns:a16="http://schemas.microsoft.com/office/drawing/2014/main" id="{B21D0FE5-7983-FD7F-9D54-12CB2A5695F4}"/>
              </a:ext>
            </a:extLst>
          </p:cNvPr>
          <p:cNvSpPr txBox="1"/>
          <p:nvPr/>
        </p:nvSpPr>
        <p:spPr>
          <a:xfrm>
            <a:off x="910438" y="6395511"/>
            <a:ext cx="19550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žní Afrika</a:t>
            </a:r>
          </a:p>
        </p:txBody>
      </p:sp>
      <p:sp>
        <p:nvSpPr>
          <p:cNvPr id="11280" name="TextovéPole 11279">
            <a:extLst>
              <a:ext uri="{FF2B5EF4-FFF2-40B4-BE49-F238E27FC236}">
                <a16:creationId xmlns:a16="http://schemas.microsoft.com/office/drawing/2014/main" id="{A3E37515-BC7E-DC3A-B1C4-8AB33368C4C1}"/>
              </a:ext>
            </a:extLst>
          </p:cNvPr>
          <p:cNvSpPr txBox="1"/>
          <p:nvPr/>
        </p:nvSpPr>
        <p:spPr>
          <a:xfrm>
            <a:off x="6086648" y="3054860"/>
            <a:ext cx="1208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egal</a:t>
            </a:r>
          </a:p>
        </p:txBody>
      </p:sp>
      <p:sp>
        <p:nvSpPr>
          <p:cNvPr id="11281" name="TextovéPole 11280">
            <a:extLst>
              <a:ext uri="{FF2B5EF4-FFF2-40B4-BE49-F238E27FC236}">
                <a16:creationId xmlns:a16="http://schemas.microsoft.com/office/drawing/2014/main" id="{C14BE9CC-908E-216C-67B1-357537BBB512}"/>
              </a:ext>
            </a:extLst>
          </p:cNvPr>
          <p:cNvSpPr txBox="1"/>
          <p:nvPr/>
        </p:nvSpPr>
        <p:spPr>
          <a:xfrm>
            <a:off x="3317234" y="3071176"/>
            <a:ext cx="1316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kedonie</a:t>
            </a:r>
          </a:p>
        </p:txBody>
      </p:sp>
      <p:sp>
        <p:nvSpPr>
          <p:cNvPr id="11282" name="TextovéPole 11281">
            <a:extLst>
              <a:ext uri="{FF2B5EF4-FFF2-40B4-BE49-F238E27FC236}">
                <a16:creationId xmlns:a16="http://schemas.microsoft.com/office/drawing/2014/main" id="{95CBDC8A-CB0D-E55A-255D-CF99430A7B36}"/>
              </a:ext>
            </a:extLst>
          </p:cNvPr>
          <p:cNvSpPr txBox="1"/>
          <p:nvPr/>
        </p:nvSpPr>
        <p:spPr>
          <a:xfrm>
            <a:off x="3607617" y="4714515"/>
            <a:ext cx="1208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e</a:t>
            </a:r>
          </a:p>
        </p:txBody>
      </p:sp>
      <p:sp>
        <p:nvSpPr>
          <p:cNvPr id="11283" name="TextovéPole 11282">
            <a:extLst>
              <a:ext uri="{FF2B5EF4-FFF2-40B4-BE49-F238E27FC236}">
                <a16:creationId xmlns:a16="http://schemas.microsoft.com/office/drawing/2014/main" id="{A7648C7F-0EE8-1F61-3E8E-ED1CDFDBC71D}"/>
              </a:ext>
            </a:extLst>
          </p:cNvPr>
          <p:cNvSpPr txBox="1"/>
          <p:nvPr/>
        </p:nvSpPr>
        <p:spPr>
          <a:xfrm>
            <a:off x="771343" y="4736215"/>
            <a:ext cx="1838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lká Británie</a:t>
            </a:r>
          </a:p>
        </p:txBody>
      </p:sp>
      <p:sp>
        <p:nvSpPr>
          <p:cNvPr id="11284" name="TextovéPole 11283">
            <a:extLst>
              <a:ext uri="{FF2B5EF4-FFF2-40B4-BE49-F238E27FC236}">
                <a16:creationId xmlns:a16="http://schemas.microsoft.com/office/drawing/2014/main" id="{AF47C153-4F59-C642-006C-5F72F1DE7027}"/>
              </a:ext>
            </a:extLst>
          </p:cNvPr>
          <p:cNvSpPr txBox="1"/>
          <p:nvPr/>
        </p:nvSpPr>
        <p:spPr>
          <a:xfrm>
            <a:off x="8626861" y="3085069"/>
            <a:ext cx="1208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ipíny</a:t>
            </a:r>
          </a:p>
        </p:txBody>
      </p:sp>
    </p:spTree>
    <p:extLst>
      <p:ext uri="{BB962C8B-B14F-4D97-AF65-F5344CB8AC3E}">
        <p14:creationId xmlns:p14="http://schemas.microsoft.com/office/powerpoint/2010/main" val="41266031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629743" y="1964367"/>
            <a:ext cx="9162107" cy="29823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sz="4400" b="1" dirty="0">
                <a:solidFill>
                  <a:schemeClr val="bg1"/>
                </a:solidFill>
                <a:ea typeface="iCiel Panton Black" charset="0"/>
                <a:cs typeface="iCiel Panton Black" charset="0"/>
              </a:rPr>
              <a:t>The Road to protect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4400" b="1" dirty="0">
              <a:solidFill>
                <a:schemeClr val="bg1"/>
              </a:solidFill>
              <a:ea typeface="iCiel Panton Black" charset="0"/>
              <a:cs typeface="iCiel Panton Black" charset="0"/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sz="4400" b="1" dirty="0">
                <a:solidFill>
                  <a:schemeClr val="bg1"/>
                </a:solidFill>
                <a:ea typeface="iCiel Panton Black" charset="0"/>
                <a:cs typeface="iCiel Panton Black" charset="0"/>
              </a:rPr>
              <a:t>1 billion internet users.</a:t>
            </a:r>
          </a:p>
          <a:p>
            <a:pPr>
              <a:spcBef>
                <a:spcPts val="1000"/>
              </a:spcBef>
            </a:pPr>
            <a:endParaRPr lang="de-DE" sz="4400" b="1" dirty="0">
              <a:solidFill>
                <a:schemeClr val="bg1"/>
              </a:solidFill>
              <a:latin typeface="iCiel Panton Black" charset="0"/>
              <a:ea typeface="iCiel Panton Black" charset="0"/>
              <a:cs typeface="iCiel Panton Black" charset="0"/>
            </a:endParaRPr>
          </a:p>
        </p:txBody>
      </p:sp>
      <p:sp>
        <p:nvSpPr>
          <p:cNvPr id="3" name="TextBox 5"/>
          <p:cNvSpPr txBox="1"/>
          <p:nvPr/>
        </p:nvSpPr>
        <p:spPr>
          <a:xfrm>
            <a:off x="790674" y="4660427"/>
            <a:ext cx="7455109" cy="1896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sz="1400" dirty="0">
                <a:solidFill>
                  <a:schemeClr val="bg1"/>
                </a:solidFill>
              </a:rPr>
              <a:t>Jiří Šálek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sz="1400" dirty="0">
                <a:solidFill>
                  <a:schemeClr val="bg1"/>
                </a:solidFill>
              </a:rPr>
              <a:t>SOLEDPRO s.r.o.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sz="1400" dirty="0">
                <a:solidFill>
                  <a:schemeClr val="bg1"/>
                </a:solidFill>
              </a:rPr>
              <a:t>jiri.salek@soledpro.cz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sz="1400" dirty="0">
                <a:solidFill>
                  <a:schemeClr val="bg1"/>
                </a:solidFill>
              </a:rPr>
              <a:t>+42</a:t>
            </a:r>
            <a:r>
              <a:rPr lang="en-US" sz="1400" dirty="0">
                <a:solidFill>
                  <a:schemeClr val="bg1"/>
                </a:solidFill>
              </a:rPr>
              <a:t>0</a:t>
            </a:r>
            <a:r>
              <a:rPr lang="cs-CZ" sz="1400" dirty="0">
                <a:solidFill>
                  <a:schemeClr val="bg1"/>
                </a:solidFill>
              </a:rPr>
              <a:t> 773 221 023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endParaRPr lang="en-US" sz="1400" dirty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ts val="1000"/>
              </a:spcBef>
            </a:pPr>
            <a:endParaRPr lang="de-DE" sz="1400" dirty="0">
              <a:solidFill>
                <a:schemeClr val="bg1"/>
              </a:solidFill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247767D9-E236-44D1-88F8-034A4A3B34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9672" y="178888"/>
            <a:ext cx="2103302" cy="676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991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7F6F975FF6AD4A9E3DB919F6F13798" ma:contentTypeVersion="11" ma:contentTypeDescription="Create a new document." ma:contentTypeScope="" ma:versionID="1f0147ae3a6110ee0539dd6553cf825b">
  <xsd:schema xmlns:xsd="http://www.w3.org/2001/XMLSchema" xmlns:xs="http://www.w3.org/2001/XMLSchema" xmlns:p="http://schemas.microsoft.com/office/2006/metadata/properties" xmlns:ns2="0125f55c-6618-4333-8920-45faef17e0c1" xmlns:ns3="b1b5f0cb-ef32-499d-af88-d971c3a23587" targetNamespace="http://schemas.microsoft.com/office/2006/metadata/properties" ma:root="true" ma:fieldsID="51da556d08884c3dd16f5ba9cd9fb7ed" ns2:_="" ns3:_="">
    <xsd:import namespace="0125f55c-6618-4333-8920-45faef17e0c1"/>
    <xsd:import namespace="b1b5f0cb-ef32-499d-af88-d971c3a2358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25f55c-6618-4333-8920-45faef17e0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b5f0cb-ef32-499d-af88-d971c3a23587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2F20BEE-FF96-485D-87D7-A62F5804B69D}">
  <ds:schemaRefs>
    <ds:schemaRef ds:uri="http://schemas.microsoft.com/office/2006/documentManagement/types"/>
    <ds:schemaRef ds:uri="0125f55c-6618-4333-8920-45faef17e0c1"/>
    <ds:schemaRef ds:uri="http://purl.org/dc/terms/"/>
    <ds:schemaRef ds:uri="http://schemas.microsoft.com/office/2006/metadata/properties"/>
    <ds:schemaRef ds:uri="http://www.w3.org/XML/1998/namespace"/>
    <ds:schemaRef ds:uri="http://purl.org/dc/dcmitype/"/>
    <ds:schemaRef ds:uri="b1b5f0cb-ef32-499d-af88-d971c3a23587"/>
    <ds:schemaRef ds:uri="http://schemas.microsoft.com/office/infopath/2007/PartnerControls"/>
    <ds:schemaRef ds:uri="http://schemas.openxmlformats.org/package/2006/metadata/core-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B5CFBFA9-C2F1-45C2-9397-19FFDFEBBB8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573E5A-AA64-4371-8DAF-FABADAE6BE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125f55c-6618-4333-8920-45faef17e0c1"/>
    <ds:schemaRef ds:uri="b1b5f0cb-ef32-499d-af88-d971c3a235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434</Words>
  <Application>Microsoft Office PowerPoint</Application>
  <PresentationFormat>Širokoúhlá obrazovka</PresentationFormat>
  <Paragraphs>85</Paragraphs>
  <Slides>9</Slides>
  <Notes>8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DM Serif Text</vt:lpstr>
      <vt:lpstr>iCiel Panton Black</vt:lpstr>
      <vt:lpstr>Wingdings</vt:lpstr>
      <vt:lpstr>3_Motiv Office</vt:lpstr>
      <vt:lpstr>1_Motiv Office</vt:lpstr>
      <vt:lpstr>2_Motiv Office</vt:lpstr>
      <vt:lpstr>think-cell Folie</vt:lpstr>
      <vt:lpstr>Prezentace aplikace PowerPoint</vt:lpstr>
      <vt:lpstr>Bezpečnost pro sítě do 100 PC     </vt:lpstr>
      <vt:lpstr>Bezpečnost pro sítě do 100 PC</vt:lpstr>
      <vt:lpstr>Bezpečnost pro sítě do 100 PC  Whalebone chrání počítačové sítě proti činnostem malwaru a jeho infekcím. Náš globální cluster shromažďující informace o bezpečnostních incidentech zajišťuje prakticky okamžité reakce — síť je chráněna aniž byste ladili konfiguraci nebo instalovali software.  </vt:lpstr>
      <vt:lpstr>Charakteristika služby Whalebone</vt:lpstr>
      <vt:lpstr> </vt:lpstr>
      <vt:lpstr> Reference korporátní klientely</vt:lpstr>
      <vt:lpstr>   Mezinárodní reference    Verze Whalebone pro velké klienty,  z ní vytvořen produkt pro malé sítě  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ondrej.stehlik</dc:creator>
  <cp:lastModifiedBy>Jiří Šálek</cp:lastModifiedBy>
  <cp:revision>69</cp:revision>
  <dcterms:created xsi:type="dcterms:W3CDTF">2020-10-07T09:40:50Z</dcterms:created>
  <dcterms:modified xsi:type="dcterms:W3CDTF">2022-11-21T13:5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7F6F975FF6AD4A9E3DB919F6F13798</vt:lpwstr>
  </property>
</Properties>
</file>